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6A7B4A-990E-4E9E-8AE3-A9FD33CEF481}" v="73" dt="2023-03-05T15:32:12.1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86A7B4A-990E-4E9E-8AE3-A9FD33CEF481}"/>
    <pc:docChg chg="custSel addSld delSld modSld">
      <pc:chgData name="Roberto Gallardo" userId="49a044883f185952" providerId="LiveId" clId="{386A7B4A-990E-4E9E-8AE3-A9FD33CEF481}" dt="2023-03-05T15:32:20.451" v="437" actId="1076"/>
      <pc:docMkLst>
        <pc:docMk/>
      </pc:docMkLst>
      <pc:sldChg chg="del">
        <pc:chgData name="Roberto Gallardo" userId="49a044883f185952" providerId="LiveId" clId="{386A7B4A-990E-4E9E-8AE3-A9FD33CEF481}" dt="2023-02-25T14:52:39.315" v="221" actId="47"/>
        <pc:sldMkLst>
          <pc:docMk/>
          <pc:sldMk cId="1175010214" sldId="261"/>
        </pc:sldMkLst>
      </pc:sldChg>
      <pc:sldChg chg="addSp delSp modSp mod">
        <pc:chgData name="Roberto Gallardo" userId="49a044883f185952" providerId="LiveId" clId="{386A7B4A-990E-4E9E-8AE3-A9FD33CEF481}" dt="2023-03-05T15:26:32.038" v="247" actId="1076"/>
        <pc:sldMkLst>
          <pc:docMk/>
          <pc:sldMk cId="1418533539" sldId="271"/>
        </pc:sldMkLst>
        <pc:picChg chg="add del mod">
          <ac:chgData name="Roberto Gallardo" userId="49a044883f185952" providerId="LiveId" clId="{386A7B4A-990E-4E9E-8AE3-A9FD33CEF481}" dt="2023-03-05T14:12:38.606" v="222" actId="478"/>
          <ac:picMkLst>
            <pc:docMk/>
            <pc:sldMk cId="1418533539" sldId="271"/>
            <ac:picMk id="6" creationId="{2F69423C-359C-8D53-8BEC-BC1CA04E2062}"/>
          </ac:picMkLst>
        </pc:picChg>
        <pc:picChg chg="add mod">
          <ac:chgData name="Roberto Gallardo" userId="49a044883f185952" providerId="LiveId" clId="{386A7B4A-990E-4E9E-8AE3-A9FD33CEF481}" dt="2023-03-05T15:26:32.038" v="247" actId="1076"/>
          <ac:picMkLst>
            <pc:docMk/>
            <pc:sldMk cId="1418533539" sldId="271"/>
            <ac:picMk id="6" creationId="{977D9431-7165-D6E2-7119-75FF3B9999ED}"/>
          </ac:picMkLst>
        </pc:picChg>
      </pc:sldChg>
      <pc:sldChg chg="addSp delSp modSp mod">
        <pc:chgData name="Roberto Gallardo" userId="49a044883f185952" providerId="LiveId" clId="{386A7B4A-990E-4E9E-8AE3-A9FD33CEF481}" dt="2023-03-05T15:28:40.553" v="306" actId="1076"/>
        <pc:sldMkLst>
          <pc:docMk/>
          <pc:sldMk cId="2124848710" sldId="281"/>
        </pc:sldMkLst>
        <pc:picChg chg="add mod">
          <ac:chgData name="Roberto Gallardo" userId="49a044883f185952" providerId="LiveId" clId="{386A7B4A-990E-4E9E-8AE3-A9FD33CEF481}" dt="2023-03-05T15:28:40.553" v="306" actId="1076"/>
          <ac:picMkLst>
            <pc:docMk/>
            <pc:sldMk cId="2124848710" sldId="281"/>
            <ac:picMk id="6" creationId="{FDBEC1D3-B55C-AC6A-9226-74F59036D148}"/>
          </ac:picMkLst>
        </pc:picChg>
        <pc:picChg chg="add del mod">
          <ac:chgData name="Roberto Gallardo" userId="49a044883f185952" providerId="LiveId" clId="{386A7B4A-990E-4E9E-8AE3-A9FD33CEF481}" dt="2023-03-05T14:12:48.557" v="228" actId="478"/>
          <ac:picMkLst>
            <pc:docMk/>
            <pc:sldMk cId="2124848710" sldId="281"/>
            <ac:picMk id="8" creationId="{4A7FED2D-9B09-C938-AC90-F649A6D4EC5C}"/>
          </ac:picMkLst>
        </pc:picChg>
      </pc:sldChg>
      <pc:sldChg chg="addSp delSp modSp mod">
        <pc:chgData name="Roberto Gallardo" userId="49a044883f185952" providerId="LiveId" clId="{386A7B4A-990E-4E9E-8AE3-A9FD33CEF481}" dt="2023-03-05T15:28:58.890" v="316" actId="1076"/>
        <pc:sldMkLst>
          <pc:docMk/>
          <pc:sldMk cId="2028175529" sldId="282"/>
        </pc:sldMkLst>
        <pc:picChg chg="add mod">
          <ac:chgData name="Roberto Gallardo" userId="49a044883f185952" providerId="LiveId" clId="{386A7B4A-990E-4E9E-8AE3-A9FD33CEF481}" dt="2023-03-05T15:28:58.890" v="316" actId="1076"/>
          <ac:picMkLst>
            <pc:docMk/>
            <pc:sldMk cId="2028175529" sldId="282"/>
            <ac:picMk id="7" creationId="{7C500FCA-0131-C3DD-04E2-C58A528DA91B}"/>
          </ac:picMkLst>
        </pc:picChg>
        <pc:picChg chg="add del mod">
          <ac:chgData name="Roberto Gallardo" userId="49a044883f185952" providerId="LiveId" clId="{386A7B4A-990E-4E9E-8AE3-A9FD33CEF481}" dt="2023-03-05T14:12:49.952" v="229" actId="478"/>
          <ac:picMkLst>
            <pc:docMk/>
            <pc:sldMk cId="2028175529" sldId="282"/>
            <ac:picMk id="8" creationId="{250FB319-D4F4-855D-F2FD-BB2254387428}"/>
          </ac:picMkLst>
        </pc:picChg>
      </pc:sldChg>
      <pc:sldChg chg="addSp delSp modSp mod">
        <pc:chgData name="Roberto Gallardo" userId="49a044883f185952" providerId="LiveId" clId="{386A7B4A-990E-4E9E-8AE3-A9FD33CEF481}" dt="2023-03-05T15:29:22.462" v="328" actId="1076"/>
        <pc:sldMkLst>
          <pc:docMk/>
          <pc:sldMk cId="1326517747" sldId="283"/>
        </pc:sldMkLst>
        <pc:picChg chg="add mod">
          <ac:chgData name="Roberto Gallardo" userId="49a044883f185952" providerId="LiveId" clId="{386A7B4A-990E-4E9E-8AE3-A9FD33CEF481}" dt="2023-03-05T15:29:22.462" v="328" actId="1076"/>
          <ac:picMkLst>
            <pc:docMk/>
            <pc:sldMk cId="1326517747" sldId="283"/>
            <ac:picMk id="7" creationId="{EBDEB3CF-35E4-2AFC-B6DB-BCF2C863137D}"/>
          </ac:picMkLst>
        </pc:picChg>
        <pc:picChg chg="add del mod">
          <ac:chgData name="Roberto Gallardo" userId="49a044883f185952" providerId="LiveId" clId="{386A7B4A-990E-4E9E-8AE3-A9FD33CEF481}" dt="2023-03-05T14:12:51.717" v="230" actId="478"/>
          <ac:picMkLst>
            <pc:docMk/>
            <pc:sldMk cId="1326517747" sldId="283"/>
            <ac:picMk id="8" creationId="{913CCF0A-C885-EE54-8912-BFA290A86805}"/>
          </ac:picMkLst>
        </pc:picChg>
      </pc:sldChg>
      <pc:sldChg chg="addSp delSp modSp mod">
        <pc:chgData name="Roberto Gallardo" userId="49a044883f185952" providerId="LiveId" clId="{386A7B4A-990E-4E9E-8AE3-A9FD33CEF481}" dt="2023-03-05T15:29:38.464" v="337" actId="1076"/>
        <pc:sldMkLst>
          <pc:docMk/>
          <pc:sldMk cId="783739251" sldId="284"/>
        </pc:sldMkLst>
        <pc:picChg chg="add mod">
          <ac:chgData name="Roberto Gallardo" userId="49a044883f185952" providerId="LiveId" clId="{386A7B4A-990E-4E9E-8AE3-A9FD33CEF481}" dt="2023-03-05T15:29:38.464" v="337" actId="1076"/>
          <ac:picMkLst>
            <pc:docMk/>
            <pc:sldMk cId="783739251" sldId="284"/>
            <ac:picMk id="7" creationId="{7F998EB7-C2BF-A946-8EDB-9BFDE913DB73}"/>
          </ac:picMkLst>
        </pc:picChg>
        <pc:picChg chg="add del mod">
          <ac:chgData name="Roberto Gallardo" userId="49a044883f185952" providerId="LiveId" clId="{386A7B4A-990E-4E9E-8AE3-A9FD33CEF481}" dt="2023-03-05T14:12:53.790" v="231" actId="478"/>
          <ac:picMkLst>
            <pc:docMk/>
            <pc:sldMk cId="783739251" sldId="284"/>
            <ac:picMk id="8" creationId="{26FC3115-D1EF-0E6D-F68F-CC6D9078E20F}"/>
          </ac:picMkLst>
        </pc:picChg>
      </pc:sldChg>
      <pc:sldChg chg="addSp delSp modSp mod">
        <pc:chgData name="Roberto Gallardo" userId="49a044883f185952" providerId="LiveId" clId="{386A7B4A-990E-4E9E-8AE3-A9FD33CEF481}" dt="2023-03-05T15:29:53.116" v="347" actId="1076"/>
        <pc:sldMkLst>
          <pc:docMk/>
          <pc:sldMk cId="1676122233" sldId="285"/>
        </pc:sldMkLst>
        <pc:picChg chg="add mod">
          <ac:chgData name="Roberto Gallardo" userId="49a044883f185952" providerId="LiveId" clId="{386A7B4A-990E-4E9E-8AE3-A9FD33CEF481}" dt="2023-03-05T15:29:53.116" v="347" actId="1076"/>
          <ac:picMkLst>
            <pc:docMk/>
            <pc:sldMk cId="1676122233" sldId="285"/>
            <ac:picMk id="7" creationId="{F7A9A076-70F5-A4E6-299F-FE9F2CDCA3F5}"/>
          </ac:picMkLst>
        </pc:picChg>
        <pc:picChg chg="add del mod">
          <ac:chgData name="Roberto Gallardo" userId="49a044883f185952" providerId="LiveId" clId="{386A7B4A-990E-4E9E-8AE3-A9FD33CEF481}" dt="2023-03-05T14:12:55.354" v="232" actId="478"/>
          <ac:picMkLst>
            <pc:docMk/>
            <pc:sldMk cId="1676122233" sldId="285"/>
            <ac:picMk id="8" creationId="{1E15C78D-5EBF-81E7-CC6F-7CC723605D60}"/>
          </ac:picMkLst>
        </pc:picChg>
      </pc:sldChg>
      <pc:sldChg chg="addSp delSp modSp mod">
        <pc:chgData name="Roberto Gallardo" userId="49a044883f185952" providerId="LiveId" clId="{386A7B4A-990E-4E9E-8AE3-A9FD33CEF481}" dt="2023-03-05T15:30:11.841" v="360" actId="1076"/>
        <pc:sldMkLst>
          <pc:docMk/>
          <pc:sldMk cId="3100398757" sldId="286"/>
        </pc:sldMkLst>
        <pc:picChg chg="add mod">
          <ac:chgData name="Roberto Gallardo" userId="49a044883f185952" providerId="LiveId" clId="{386A7B4A-990E-4E9E-8AE3-A9FD33CEF481}" dt="2023-03-05T15:30:11.841" v="360" actId="1076"/>
          <ac:picMkLst>
            <pc:docMk/>
            <pc:sldMk cId="3100398757" sldId="286"/>
            <ac:picMk id="7" creationId="{B307F743-6BB2-EB53-1FCF-8D1E61BE7B78}"/>
          </ac:picMkLst>
        </pc:picChg>
        <pc:picChg chg="add del mod">
          <ac:chgData name="Roberto Gallardo" userId="49a044883f185952" providerId="LiveId" clId="{386A7B4A-990E-4E9E-8AE3-A9FD33CEF481}" dt="2023-03-05T14:12:57.340" v="233" actId="478"/>
          <ac:picMkLst>
            <pc:docMk/>
            <pc:sldMk cId="3100398757" sldId="286"/>
            <ac:picMk id="8" creationId="{497E371C-D3E4-4758-755A-9F96806D8998}"/>
          </ac:picMkLst>
        </pc:picChg>
      </pc:sldChg>
      <pc:sldChg chg="addSp delSp modSp mod">
        <pc:chgData name="Roberto Gallardo" userId="49a044883f185952" providerId="LiveId" clId="{386A7B4A-990E-4E9E-8AE3-A9FD33CEF481}" dt="2023-03-05T15:30:30.789" v="372" actId="1076"/>
        <pc:sldMkLst>
          <pc:docMk/>
          <pc:sldMk cId="1546475425" sldId="287"/>
        </pc:sldMkLst>
        <pc:picChg chg="add mod">
          <ac:chgData name="Roberto Gallardo" userId="49a044883f185952" providerId="LiveId" clId="{386A7B4A-990E-4E9E-8AE3-A9FD33CEF481}" dt="2023-03-05T15:30:30.789" v="372" actId="1076"/>
          <ac:picMkLst>
            <pc:docMk/>
            <pc:sldMk cId="1546475425" sldId="287"/>
            <ac:picMk id="7" creationId="{2201EEBB-0EA2-507C-D96A-4CC11BBC1B82}"/>
          </ac:picMkLst>
        </pc:picChg>
        <pc:picChg chg="add del mod">
          <ac:chgData name="Roberto Gallardo" userId="49a044883f185952" providerId="LiveId" clId="{386A7B4A-990E-4E9E-8AE3-A9FD33CEF481}" dt="2023-03-05T14:12:58.905" v="234" actId="478"/>
          <ac:picMkLst>
            <pc:docMk/>
            <pc:sldMk cId="1546475425" sldId="287"/>
            <ac:picMk id="8" creationId="{2D5579C0-8DAC-EBF5-F056-45C8F1831E48}"/>
          </ac:picMkLst>
        </pc:picChg>
      </pc:sldChg>
      <pc:sldChg chg="addSp delSp modSp mod">
        <pc:chgData name="Roberto Gallardo" userId="49a044883f185952" providerId="LiveId" clId="{386A7B4A-990E-4E9E-8AE3-A9FD33CEF481}" dt="2023-03-05T15:31:04.143" v="393" actId="1076"/>
        <pc:sldMkLst>
          <pc:docMk/>
          <pc:sldMk cId="1380517306" sldId="288"/>
        </pc:sldMkLst>
        <pc:picChg chg="add mod">
          <ac:chgData name="Roberto Gallardo" userId="49a044883f185952" providerId="LiveId" clId="{386A7B4A-990E-4E9E-8AE3-A9FD33CEF481}" dt="2023-03-05T15:31:04.143" v="393" actId="1076"/>
          <ac:picMkLst>
            <pc:docMk/>
            <pc:sldMk cId="1380517306" sldId="288"/>
            <ac:picMk id="7" creationId="{A115106A-B088-5D22-923E-F3577AFEE420}"/>
          </ac:picMkLst>
        </pc:picChg>
        <pc:picChg chg="add del mod">
          <ac:chgData name="Roberto Gallardo" userId="49a044883f185952" providerId="LiveId" clId="{386A7B4A-990E-4E9E-8AE3-A9FD33CEF481}" dt="2023-03-05T14:13:02.954" v="236" actId="478"/>
          <ac:picMkLst>
            <pc:docMk/>
            <pc:sldMk cId="1380517306" sldId="288"/>
            <ac:picMk id="8" creationId="{BA120671-938E-CC38-6A54-5CC6E8D8D3B9}"/>
          </ac:picMkLst>
        </pc:picChg>
      </pc:sldChg>
      <pc:sldChg chg="addSp delSp modSp mod">
        <pc:chgData name="Roberto Gallardo" userId="49a044883f185952" providerId="LiveId" clId="{386A7B4A-990E-4E9E-8AE3-A9FD33CEF481}" dt="2023-03-05T15:31:21.333" v="404" actId="1076"/>
        <pc:sldMkLst>
          <pc:docMk/>
          <pc:sldMk cId="1388671151" sldId="289"/>
        </pc:sldMkLst>
        <pc:picChg chg="add mod">
          <ac:chgData name="Roberto Gallardo" userId="49a044883f185952" providerId="LiveId" clId="{386A7B4A-990E-4E9E-8AE3-A9FD33CEF481}" dt="2023-03-05T15:31:21.333" v="404" actId="1076"/>
          <ac:picMkLst>
            <pc:docMk/>
            <pc:sldMk cId="1388671151" sldId="289"/>
            <ac:picMk id="7" creationId="{242AB351-F1EF-FFF5-E78F-1E00C5E67FE6}"/>
          </ac:picMkLst>
        </pc:picChg>
        <pc:picChg chg="add del mod">
          <ac:chgData name="Roberto Gallardo" userId="49a044883f185952" providerId="LiveId" clId="{386A7B4A-990E-4E9E-8AE3-A9FD33CEF481}" dt="2023-03-05T14:13:04.318" v="237" actId="478"/>
          <ac:picMkLst>
            <pc:docMk/>
            <pc:sldMk cId="1388671151" sldId="289"/>
            <ac:picMk id="8" creationId="{9EEED069-546E-C078-63E7-1919121E50B8}"/>
          </ac:picMkLst>
        </pc:picChg>
      </pc:sldChg>
      <pc:sldChg chg="addSp delSp modSp mod">
        <pc:chgData name="Roberto Gallardo" userId="49a044883f185952" providerId="LiveId" clId="{386A7B4A-990E-4E9E-8AE3-A9FD33CEF481}" dt="2023-03-05T15:32:02.279" v="428" actId="1076"/>
        <pc:sldMkLst>
          <pc:docMk/>
          <pc:sldMk cId="2355376039" sldId="290"/>
        </pc:sldMkLst>
        <pc:picChg chg="add mod">
          <ac:chgData name="Roberto Gallardo" userId="49a044883f185952" providerId="LiveId" clId="{386A7B4A-990E-4E9E-8AE3-A9FD33CEF481}" dt="2023-03-05T15:32:02.279" v="428" actId="1076"/>
          <ac:picMkLst>
            <pc:docMk/>
            <pc:sldMk cId="2355376039" sldId="290"/>
            <ac:picMk id="8" creationId="{DD927326-C88D-12E6-BDCC-3AA920976890}"/>
          </ac:picMkLst>
        </pc:picChg>
        <pc:picChg chg="add del mod">
          <ac:chgData name="Roberto Gallardo" userId="49a044883f185952" providerId="LiveId" clId="{386A7B4A-990E-4E9E-8AE3-A9FD33CEF481}" dt="2023-03-05T14:13:07.473" v="239" actId="478"/>
          <ac:picMkLst>
            <pc:docMk/>
            <pc:sldMk cId="2355376039" sldId="290"/>
            <ac:picMk id="9" creationId="{49ED7765-2946-9232-40D5-FF5B47C1D730}"/>
          </ac:picMkLst>
        </pc:picChg>
      </pc:sldChg>
      <pc:sldChg chg="addSp delSp modSp mod">
        <pc:chgData name="Roberto Gallardo" userId="49a044883f185952" providerId="LiveId" clId="{386A7B4A-990E-4E9E-8AE3-A9FD33CEF481}" dt="2023-03-05T15:32:20.451" v="437" actId="1076"/>
        <pc:sldMkLst>
          <pc:docMk/>
          <pc:sldMk cId="3757257295" sldId="291"/>
        </pc:sldMkLst>
        <pc:picChg chg="add mod">
          <ac:chgData name="Roberto Gallardo" userId="49a044883f185952" providerId="LiveId" clId="{386A7B4A-990E-4E9E-8AE3-A9FD33CEF481}" dt="2023-03-05T15:32:20.451" v="437" actId="1076"/>
          <ac:picMkLst>
            <pc:docMk/>
            <pc:sldMk cId="3757257295" sldId="291"/>
            <ac:picMk id="8" creationId="{9976E92E-D435-67ED-F23E-5591CBAA1CBE}"/>
          </ac:picMkLst>
        </pc:picChg>
        <pc:picChg chg="add del mod">
          <ac:chgData name="Roberto Gallardo" userId="49a044883f185952" providerId="LiveId" clId="{386A7B4A-990E-4E9E-8AE3-A9FD33CEF481}" dt="2023-03-05T14:13:09.591" v="240" actId="478"/>
          <ac:picMkLst>
            <pc:docMk/>
            <pc:sldMk cId="3757257295" sldId="291"/>
            <ac:picMk id="9" creationId="{60A75A7F-A320-512B-4CC5-55C992F44B17}"/>
          </ac:picMkLst>
        </pc:picChg>
      </pc:sldChg>
      <pc:sldChg chg="addSp delSp modSp mod">
        <pc:chgData name="Roberto Gallardo" userId="49a044883f185952" providerId="LiveId" clId="{386A7B4A-990E-4E9E-8AE3-A9FD33CEF481}" dt="2023-03-05T15:30:45.206" v="382" actId="1076"/>
        <pc:sldMkLst>
          <pc:docMk/>
          <pc:sldMk cId="1259856727" sldId="292"/>
        </pc:sldMkLst>
        <pc:picChg chg="add mod">
          <ac:chgData name="Roberto Gallardo" userId="49a044883f185952" providerId="LiveId" clId="{386A7B4A-990E-4E9E-8AE3-A9FD33CEF481}" dt="2023-03-05T15:30:45.206" v="382" actId="1076"/>
          <ac:picMkLst>
            <pc:docMk/>
            <pc:sldMk cId="1259856727" sldId="292"/>
            <ac:picMk id="7" creationId="{BD23D1B3-0333-D305-27A6-9C019355E6CA}"/>
          </ac:picMkLst>
        </pc:picChg>
        <pc:picChg chg="add del mod">
          <ac:chgData name="Roberto Gallardo" userId="49a044883f185952" providerId="LiveId" clId="{386A7B4A-990E-4E9E-8AE3-A9FD33CEF481}" dt="2023-03-05T14:13:00.935" v="235" actId="478"/>
          <ac:picMkLst>
            <pc:docMk/>
            <pc:sldMk cId="1259856727" sldId="292"/>
            <ac:picMk id="8" creationId="{0A0451A9-CF92-16F5-C9D3-484B5CDB0395}"/>
          </ac:picMkLst>
        </pc:picChg>
      </pc:sldChg>
      <pc:sldChg chg="addSp delSp modSp mod">
        <pc:chgData name="Roberto Gallardo" userId="49a044883f185952" providerId="LiveId" clId="{386A7B4A-990E-4E9E-8AE3-A9FD33CEF481}" dt="2023-03-05T15:28:23.607" v="296" actId="1076"/>
        <pc:sldMkLst>
          <pc:docMk/>
          <pc:sldMk cId="3324519687" sldId="293"/>
        </pc:sldMkLst>
        <pc:picChg chg="add mod">
          <ac:chgData name="Roberto Gallardo" userId="49a044883f185952" providerId="LiveId" clId="{386A7B4A-990E-4E9E-8AE3-A9FD33CEF481}" dt="2023-03-05T15:28:23.607" v="296" actId="1076"/>
          <ac:picMkLst>
            <pc:docMk/>
            <pc:sldMk cId="3324519687" sldId="293"/>
            <ac:picMk id="7" creationId="{BBF59DF4-B795-AC4C-CE5A-8915C0631FBF}"/>
          </ac:picMkLst>
        </pc:picChg>
        <pc:picChg chg="add del mod">
          <ac:chgData name="Roberto Gallardo" userId="49a044883f185952" providerId="LiveId" clId="{386A7B4A-990E-4E9E-8AE3-A9FD33CEF481}" dt="2023-03-05T14:12:46.677" v="227" actId="478"/>
          <ac:picMkLst>
            <pc:docMk/>
            <pc:sldMk cId="3324519687" sldId="293"/>
            <ac:picMk id="8" creationId="{5CAD8339-DEB8-770C-9B44-4CBB81398017}"/>
          </ac:picMkLst>
        </pc:picChg>
      </pc:sldChg>
      <pc:sldChg chg="addSp delSp modSp mod">
        <pc:chgData name="Roberto Gallardo" userId="49a044883f185952" providerId="LiveId" clId="{386A7B4A-990E-4E9E-8AE3-A9FD33CEF481}" dt="2023-03-05T15:27:40.572" v="273" actId="1076"/>
        <pc:sldMkLst>
          <pc:docMk/>
          <pc:sldMk cId="3256182630" sldId="295"/>
        </pc:sldMkLst>
        <pc:picChg chg="add mod">
          <ac:chgData name="Roberto Gallardo" userId="49a044883f185952" providerId="LiveId" clId="{386A7B4A-990E-4E9E-8AE3-A9FD33CEF481}" dt="2023-03-05T15:27:40.572" v="273" actId="1076"/>
          <ac:picMkLst>
            <pc:docMk/>
            <pc:sldMk cId="3256182630" sldId="295"/>
            <ac:picMk id="7" creationId="{591711E0-9BF5-139C-C119-1A06022374F1}"/>
          </ac:picMkLst>
        </pc:picChg>
        <pc:picChg chg="add del mod">
          <ac:chgData name="Roberto Gallardo" userId="49a044883f185952" providerId="LiveId" clId="{386A7B4A-990E-4E9E-8AE3-A9FD33CEF481}" dt="2023-03-05T14:12:43.598" v="225" actId="478"/>
          <ac:picMkLst>
            <pc:docMk/>
            <pc:sldMk cId="3256182630" sldId="295"/>
            <ac:picMk id="8" creationId="{0BE8D777-3C43-9813-5752-6927C6CA069B}"/>
          </ac:picMkLst>
        </pc:picChg>
      </pc:sldChg>
      <pc:sldChg chg="addSp delSp modSp mod">
        <pc:chgData name="Roberto Gallardo" userId="49a044883f185952" providerId="LiveId" clId="{386A7B4A-990E-4E9E-8AE3-A9FD33CEF481}" dt="2023-03-05T15:28:05.688" v="285" actId="1076"/>
        <pc:sldMkLst>
          <pc:docMk/>
          <pc:sldMk cId="4057156843" sldId="296"/>
        </pc:sldMkLst>
        <pc:picChg chg="add mod">
          <ac:chgData name="Roberto Gallardo" userId="49a044883f185952" providerId="LiveId" clId="{386A7B4A-990E-4E9E-8AE3-A9FD33CEF481}" dt="2023-03-05T15:28:05.688" v="285" actId="1076"/>
          <ac:picMkLst>
            <pc:docMk/>
            <pc:sldMk cId="4057156843" sldId="296"/>
            <ac:picMk id="7" creationId="{77923823-3B78-9EF5-F03E-E49ED72FDB8A}"/>
          </ac:picMkLst>
        </pc:picChg>
        <pc:picChg chg="add del mod">
          <ac:chgData name="Roberto Gallardo" userId="49a044883f185952" providerId="LiveId" clId="{386A7B4A-990E-4E9E-8AE3-A9FD33CEF481}" dt="2023-03-05T14:12:44.899" v="226" actId="478"/>
          <ac:picMkLst>
            <pc:docMk/>
            <pc:sldMk cId="4057156843" sldId="296"/>
            <ac:picMk id="8" creationId="{7F91B9D2-65C0-2777-D453-38F46E2C5D78}"/>
          </ac:picMkLst>
        </pc:picChg>
      </pc:sldChg>
      <pc:sldChg chg="addSp delSp modSp mod">
        <pc:chgData name="Roberto Gallardo" userId="49a044883f185952" providerId="LiveId" clId="{386A7B4A-990E-4E9E-8AE3-A9FD33CEF481}" dt="2023-03-05T15:27:10.305" v="264" actId="1076"/>
        <pc:sldMkLst>
          <pc:docMk/>
          <pc:sldMk cId="2080110827" sldId="297"/>
        </pc:sldMkLst>
        <pc:picChg chg="add mod">
          <ac:chgData name="Roberto Gallardo" userId="49a044883f185952" providerId="LiveId" clId="{386A7B4A-990E-4E9E-8AE3-A9FD33CEF481}" dt="2023-03-05T15:27:10.305" v="264" actId="1076"/>
          <ac:picMkLst>
            <pc:docMk/>
            <pc:sldMk cId="2080110827" sldId="297"/>
            <ac:picMk id="6" creationId="{407761A1-1F99-67B5-223F-B766DB42A17B}"/>
          </ac:picMkLst>
        </pc:picChg>
        <pc:picChg chg="add del mod">
          <ac:chgData name="Roberto Gallardo" userId="49a044883f185952" providerId="LiveId" clId="{386A7B4A-990E-4E9E-8AE3-A9FD33CEF481}" dt="2023-03-05T14:12:41.062" v="224" actId="478"/>
          <ac:picMkLst>
            <pc:docMk/>
            <pc:sldMk cId="2080110827" sldId="297"/>
            <ac:picMk id="6" creationId="{B7AA2C81-9815-D095-0D96-967228B26714}"/>
          </ac:picMkLst>
        </pc:picChg>
      </pc:sldChg>
      <pc:sldChg chg="addSp delSp modSp mod">
        <pc:chgData name="Roberto Gallardo" userId="49a044883f185952" providerId="LiveId" clId="{386A7B4A-990E-4E9E-8AE3-A9FD33CEF481}" dt="2023-03-05T15:26:51.257" v="255" actId="1076"/>
        <pc:sldMkLst>
          <pc:docMk/>
          <pc:sldMk cId="1532666867" sldId="298"/>
        </pc:sldMkLst>
        <pc:picChg chg="add del mod">
          <ac:chgData name="Roberto Gallardo" userId="49a044883f185952" providerId="LiveId" clId="{386A7B4A-990E-4E9E-8AE3-A9FD33CEF481}" dt="2023-03-05T14:12:39.770" v="223" actId="478"/>
          <ac:picMkLst>
            <pc:docMk/>
            <pc:sldMk cId="1532666867" sldId="298"/>
            <ac:picMk id="6" creationId="{6329106B-6B35-91A0-0F23-79359E21286A}"/>
          </ac:picMkLst>
        </pc:picChg>
        <pc:picChg chg="add mod">
          <ac:chgData name="Roberto Gallardo" userId="49a044883f185952" providerId="LiveId" clId="{386A7B4A-990E-4E9E-8AE3-A9FD33CEF481}" dt="2023-03-05T15:26:51.257" v="255" actId="1076"/>
          <ac:picMkLst>
            <pc:docMk/>
            <pc:sldMk cId="1532666867" sldId="298"/>
            <ac:picMk id="6" creationId="{8CCCD666-61CF-7A3A-D7D1-7BA437199B39}"/>
          </ac:picMkLst>
        </pc:picChg>
      </pc:sldChg>
      <pc:sldChg chg="addSp delSp modSp mod">
        <pc:chgData name="Roberto Gallardo" userId="49a044883f185952" providerId="LiveId" clId="{386A7B4A-990E-4E9E-8AE3-A9FD33CEF481}" dt="2023-03-05T15:31:44.701" v="417" actId="1076"/>
        <pc:sldMkLst>
          <pc:docMk/>
          <pc:sldMk cId="1951376777" sldId="299"/>
        </pc:sldMkLst>
        <pc:picChg chg="add mod">
          <ac:chgData name="Roberto Gallardo" userId="49a044883f185952" providerId="LiveId" clId="{386A7B4A-990E-4E9E-8AE3-A9FD33CEF481}" dt="2023-03-05T15:31:44.701" v="417" actId="1076"/>
          <ac:picMkLst>
            <pc:docMk/>
            <pc:sldMk cId="1951376777" sldId="299"/>
            <ac:picMk id="7" creationId="{7C4E6E69-DE02-3070-23B9-30852E8BDD5A}"/>
          </ac:picMkLst>
        </pc:picChg>
        <pc:picChg chg="add del mod">
          <ac:chgData name="Roberto Gallardo" userId="49a044883f185952" providerId="LiveId" clId="{386A7B4A-990E-4E9E-8AE3-A9FD33CEF481}" dt="2023-03-05T14:13:06.169" v="238" actId="478"/>
          <ac:picMkLst>
            <pc:docMk/>
            <pc:sldMk cId="1951376777" sldId="299"/>
            <ac:picMk id="8" creationId="{A8379142-D456-DCE5-D095-3E6031CFF4E4}"/>
          </ac:picMkLst>
        </pc:picChg>
      </pc:sldChg>
      <pc:sldChg chg="modSp mod">
        <pc:chgData name="Roberto Gallardo" userId="49a044883f185952" providerId="LiveId" clId="{386A7B4A-990E-4E9E-8AE3-A9FD33CEF481}" dt="2023-02-25T13:23:08.175" v="219" actId="20577"/>
        <pc:sldMkLst>
          <pc:docMk/>
          <pc:sldMk cId="1515423683" sldId="302"/>
        </pc:sldMkLst>
        <pc:spChg chg="mod">
          <ac:chgData name="Roberto Gallardo" userId="49a044883f185952" providerId="LiveId" clId="{386A7B4A-990E-4E9E-8AE3-A9FD33CEF481}" dt="2023-02-25T13:23:08.175" v="219" actId="20577"/>
          <ac:spMkLst>
            <pc:docMk/>
            <pc:sldMk cId="1515423683" sldId="302"/>
            <ac:spMk id="5" creationId="{6AE302AC-8931-4144-BE52-DD1A8BA82462}"/>
          </ac:spMkLst>
        </pc:spChg>
        <pc:spChg chg="mod">
          <ac:chgData name="Roberto Gallardo" userId="49a044883f185952" providerId="LiveId" clId="{386A7B4A-990E-4E9E-8AE3-A9FD33CEF481}" dt="2023-02-25T13:23:05.311" v="218" actId="20577"/>
          <ac:spMkLst>
            <pc:docMk/>
            <pc:sldMk cId="1515423683" sldId="302"/>
            <ac:spMk id="9" creationId="{E362A98F-7DCD-C67C-23CE-1BE182A133B4}"/>
          </ac:spMkLst>
        </pc:spChg>
      </pc:sldChg>
      <pc:sldChg chg="del">
        <pc:chgData name="Roberto Gallardo" userId="49a044883f185952" providerId="LiveId" clId="{386A7B4A-990E-4E9E-8AE3-A9FD33CEF481}" dt="2023-02-25T14:52:39.315" v="221" actId="47"/>
        <pc:sldMkLst>
          <pc:docMk/>
          <pc:sldMk cId="2841628872" sldId="303"/>
        </pc:sldMkLst>
      </pc:sldChg>
      <pc:sldChg chg="del">
        <pc:chgData name="Roberto Gallardo" userId="49a044883f185952" providerId="LiveId" clId="{386A7B4A-990E-4E9E-8AE3-A9FD33CEF481}" dt="2023-02-25T14:52:39.315" v="221" actId="47"/>
        <pc:sldMkLst>
          <pc:docMk/>
          <pc:sldMk cId="3084076302" sldId="304"/>
        </pc:sldMkLst>
      </pc:sldChg>
      <pc:sldChg chg="del">
        <pc:chgData name="Roberto Gallardo" userId="49a044883f185952" providerId="LiveId" clId="{386A7B4A-990E-4E9E-8AE3-A9FD33CEF481}" dt="2023-02-25T14:52:39.315" v="221" actId="47"/>
        <pc:sldMkLst>
          <pc:docMk/>
          <pc:sldMk cId="473712435" sldId="305"/>
        </pc:sldMkLst>
      </pc:sldChg>
      <pc:sldChg chg="add">
        <pc:chgData name="Roberto Gallardo" userId="49a044883f185952" providerId="LiveId" clId="{386A7B4A-990E-4E9E-8AE3-A9FD33CEF481}" dt="2023-02-25T14:52:36.578" v="220"/>
        <pc:sldMkLst>
          <pc:docMk/>
          <pc:sldMk cId="190688773" sldId="307"/>
        </pc:sldMkLst>
      </pc:sldChg>
      <pc:sldChg chg="add">
        <pc:chgData name="Roberto Gallardo" userId="49a044883f185952" providerId="LiveId" clId="{386A7B4A-990E-4E9E-8AE3-A9FD33CEF481}" dt="2023-02-25T14:52:36.578" v="220"/>
        <pc:sldMkLst>
          <pc:docMk/>
          <pc:sldMk cId="3301453491" sldId="308"/>
        </pc:sldMkLst>
      </pc:sldChg>
      <pc:sldChg chg="add">
        <pc:chgData name="Roberto Gallardo" userId="49a044883f185952" providerId="LiveId" clId="{386A7B4A-990E-4E9E-8AE3-A9FD33CEF481}" dt="2023-02-25T14:52:36.578" v="220"/>
        <pc:sldMkLst>
          <pc:docMk/>
          <pc:sldMk cId="3807318318" sldId="309"/>
        </pc:sldMkLst>
      </pc:sldChg>
      <pc:sldChg chg="add">
        <pc:chgData name="Roberto Gallardo" userId="49a044883f185952" providerId="LiveId" clId="{386A7B4A-990E-4E9E-8AE3-A9FD33CEF481}" dt="2023-02-25T14:52:36.578" v="220"/>
        <pc:sldMkLst>
          <pc:docMk/>
          <pc:sldMk cId="394414009"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Rowa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2D5853-305B-2793-F00F-7C8065E21BED}"/>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8073183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05B266C-BF51-72F5-25F0-1B0B5FD723DB}"/>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94414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map&#10;&#10;Description automatically generated">
            <a:extLst>
              <a:ext uri="{FF2B5EF4-FFF2-40B4-BE49-F238E27FC236}">
                <a16:creationId xmlns:a16="http://schemas.microsoft.com/office/drawing/2014/main" id="{977D9431-7165-D6E2-7119-75FF3B9999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043" y="1023780"/>
            <a:ext cx="7603713" cy="537702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CCCD666-61CF-7A3A-D7D1-7BA437199B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407761A1-1F99-67B5-223F-B766DB42A1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4540" y="1028700"/>
            <a:ext cx="7546719" cy="533671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B4615E0-EF41-68F9-FFF6-288E901317BE}"/>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map&#10;&#10;Description automatically generated">
            <a:extLst>
              <a:ext uri="{FF2B5EF4-FFF2-40B4-BE49-F238E27FC236}">
                <a16:creationId xmlns:a16="http://schemas.microsoft.com/office/drawing/2014/main" id="{591711E0-9BF5-139C-C119-1A06022374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5052"/>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2DF3BF9-4BCE-8834-C09F-0C7B02241E9A}"/>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77923823-3B78-9EF5-F03E-E49ED72FD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424"/>
            <a:ext cx="6392428" cy="452045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55A2A320-CE57-D8B3-A75F-91FEF88347BC}"/>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map&#10;&#10;Description automatically generated">
            <a:extLst>
              <a:ext uri="{FF2B5EF4-FFF2-40B4-BE49-F238E27FC236}">
                <a16:creationId xmlns:a16="http://schemas.microsoft.com/office/drawing/2014/main" id="{BBF59DF4-B795-AC4C-CE5A-8915C0631F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7970" y="1409440"/>
            <a:ext cx="6411630" cy="453403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3152FF6-4ADD-3A50-D208-3F58AEAAF12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map&#10;&#10;Description automatically generated">
            <a:extLst>
              <a:ext uri="{FF2B5EF4-FFF2-40B4-BE49-F238E27FC236}">
                <a16:creationId xmlns:a16="http://schemas.microsoft.com/office/drawing/2014/main" id="{FDBEC1D3-B55C-AC6A-9226-74F59036D1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854"/>
            <a:ext cx="6405936" cy="4530003"/>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DCFA55FD-5C66-6347-E5EF-B618AADBAF2F}"/>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7C500FCA-0131-C3DD-04E2-C58A528DA9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3251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a:t>
            </a:r>
            <a:r>
              <a:rPr lang="en-US" sz="1400"/>
              <a:t>darker 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446F5638-C1CD-8712-1093-E61FE66392D4}"/>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EBDEB3CF-35E4-2AFC-B6DB-BCF2C86313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6" y="1401631"/>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8644B07B-AF26-63B0-F5C1-25C879EC60FE}"/>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F998EB7-C2BF-A946-8EDB-9BFDE913DB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917"/>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459203A-8474-7CFA-8F0D-FD0CA249BC5F}"/>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F7A9A076-70F5-A4E6-299F-FE9F2CDCA3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CE661602-362F-DEC4-6A5A-B377C87BEF56}"/>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B307F743-6BB2-EB53-1FCF-8D1E61BE7B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4"/>
            <a:ext cx="6410325" cy="453310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EEA68474-2889-35CF-FC2D-853A98066A6E}"/>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201EEBB-0EA2-507C-D96A-4CC11BBC1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BE28C321-367E-16CD-77CE-EB63743D9B31}"/>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BD23D1B3-0333-D305-27A6-9C019355E6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CA65C7A2-3C3E-2655-082E-13D859B5AE94}"/>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A115106A-B088-5D22-923E-F3577AFEE4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624" y="1421340"/>
            <a:ext cx="6400976" cy="4526495"/>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4264A622-EB1F-650D-2E66-AEECA290470A}"/>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42AB351-F1EF-FFF5-E78F-1E00C5E67F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5BA6A14F-DD75-2314-8852-6DC5412F725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7C4E6E69-DE02-3070-23B9-30852E8BDD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3464"/>
            <a:ext cx="6400801"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49034642-4611-9550-E242-F3DE17429E5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map&#10;&#10;Description automatically generated">
            <a:extLst>
              <a:ext uri="{FF2B5EF4-FFF2-40B4-BE49-F238E27FC236}">
                <a16:creationId xmlns:a16="http://schemas.microsoft.com/office/drawing/2014/main" id="{DD927326-C88D-12E6-BDCC-3AA9209768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043"/>
            <a:ext cx="6384124" cy="451457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037D528-D766-349D-18BB-3E1005A10072}"/>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C3220042-4D54-1EA2-ED29-869EB6A03CE0}"/>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9976E92E-D435-67ED-F23E-5591CBAA1C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2824507-8B96-1C47-F8A0-2C988D0C583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B9C828B-14AF-99FC-37C5-4F699E31F19E}"/>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7A40720-D35A-8DA0-A7EA-B0F16EC8ADD4}"/>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898462" y="2335087"/>
            <a:ext cx="1198148" cy="2424063"/>
            <a:chOff x="10466695" y="3295737"/>
            <a:chExt cx="1198148" cy="2424063"/>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41318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57198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32957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65769" y="3295737"/>
              <a:ext cx="0" cy="8361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65769" y="5024411"/>
              <a:ext cx="0" cy="6858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C197C6D9-C18D-65FD-34C7-E443E151183D}"/>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6415D47-DFF3-9049-0CB0-8D1D914FA4F1}"/>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888A45D-9C85-5568-7CCF-7E3A842009E7}"/>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AE91DD7-7F8A-8E75-1F01-1950D6301F3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32F2D713-8C8D-252E-D303-D8986AC3ABAF}"/>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2F5DDD54-F440-0D88-0A34-9D9D4DBC1879}"/>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9E289D7D-9751-DEF0-33F5-36EBC2720B9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906887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EC5D9D2-D995-3937-8A4A-611A86DB150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301453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0</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5</cp:revision>
  <dcterms:created xsi:type="dcterms:W3CDTF">2022-07-04T13:32:28Z</dcterms:created>
  <dcterms:modified xsi:type="dcterms:W3CDTF">2023-03-05T15:32:22Z</dcterms:modified>
</cp:coreProperties>
</file>